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61" r:id="rId3"/>
    <p:sldId id="264" r:id="rId4"/>
    <p:sldId id="265" r:id="rId5"/>
    <p:sldId id="266" r:id="rId6"/>
    <p:sldId id="267" r:id="rId7"/>
    <p:sldId id="269" r:id="rId8"/>
    <p:sldId id="268" r:id="rId9"/>
    <p:sldId id="271" r:id="rId10"/>
    <p:sldId id="270" r:id="rId11"/>
    <p:sldId id="273" r:id="rId12"/>
    <p:sldId id="272" r:id="rId13"/>
    <p:sldId id="274" r:id="rId14"/>
    <p:sldId id="275" r:id="rId15"/>
    <p:sldId id="279" r:id="rId16"/>
    <p:sldId id="281" r:id="rId17"/>
    <p:sldId id="280" r:id="rId18"/>
    <p:sldId id="276" r:id="rId19"/>
    <p:sldId id="284" r:id="rId20"/>
    <p:sldId id="286" r:id="rId21"/>
    <p:sldId id="285" r:id="rId22"/>
    <p:sldId id="287" r:id="rId23"/>
    <p:sldId id="288" r:id="rId24"/>
    <p:sldId id="289" r:id="rId25"/>
    <p:sldId id="290" r:id="rId26"/>
    <p:sldId id="292" r:id="rId27"/>
    <p:sldId id="296" r:id="rId28"/>
    <p:sldId id="293" r:id="rId29"/>
    <p:sldId id="294" r:id="rId30"/>
    <p:sldId id="295" r:id="rId31"/>
    <p:sldId id="297" r:id="rId32"/>
    <p:sldId id="298" r:id="rId33"/>
    <p:sldId id="260" r:id="rId34"/>
  </p:sldIdLst>
  <p:sldSz cx="9144000" cy="6858000" type="screen4x3"/>
  <p:notesSz cx="6858000" cy="9144000"/>
  <p:custDataLst>
    <p:tags r:id="rId36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3E92"/>
    <a:srgbClr val="000000"/>
    <a:srgbClr val="04BEFE"/>
    <a:srgbClr val="4481EB"/>
    <a:srgbClr val="1F1F1F"/>
    <a:srgbClr val="246AE8"/>
    <a:srgbClr val="01ACE9"/>
    <a:srgbClr val="0C2E6A"/>
    <a:srgbClr val="1E3C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88161" autoAdjust="0"/>
  </p:normalViewPr>
  <p:slideViewPr>
    <p:cSldViewPr>
      <p:cViewPr varScale="1">
        <p:scale>
          <a:sx n="57" d="100"/>
          <a:sy n="57" d="100"/>
        </p:scale>
        <p:origin x="936" y="4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9AE2C-7F25-4931-BAAF-0F4B341E3FA3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710D5-B300-403A-A878-5936AC74D2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254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9098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011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3853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6380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971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>
              <a:solidFill>
                <a:srgbClr val="000000"/>
              </a:solidFill>
              <a:latin typeface="+mj-lt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0116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437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9132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1565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49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8798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6754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702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2654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8794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31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04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7.xml"/><Relationship Id="rId7" Type="http://schemas.openxmlformats.org/officeDocument/2006/relationships/image" Target="../media/image12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7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7.xml"/><Relationship Id="rId7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26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8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4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55576" y="2490281"/>
            <a:ext cx="784887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5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55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55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645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72"/>
    </mc:Choice>
    <mc:Fallback xmlns="">
      <p:transition spd="slow" advTm="5772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9388F804-DA96-4474-93DF-438B44AA9C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74"/>
          <a:stretch/>
        </p:blipFill>
        <p:spPr bwMode="auto">
          <a:xfrm>
            <a:off x="204226" y="6381328"/>
            <a:ext cx="8735548" cy="212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5190CFDF-3F48-4663-98C4-35FD61C581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528" y="1179658"/>
            <a:ext cx="6269648" cy="5152285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EFABFB7B-F4E1-4FC1-8E0A-A9833B1587A8}"/>
              </a:ext>
            </a:extLst>
          </p:cNvPr>
          <p:cNvSpPr/>
          <p:nvPr/>
        </p:nvSpPr>
        <p:spPr>
          <a:xfrm>
            <a:off x="4914925" y="3392995"/>
            <a:ext cx="3888432" cy="6567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60CA0E-9FF8-4B7C-9006-6C820BEE3A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32040" y="3429000"/>
            <a:ext cx="38884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임의의 실수인 층의 출력을 그래프로 나타내기 좋게 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0~255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사이의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정수로 바꾸었다</a:t>
            </a:r>
            <a:r>
              <a:rPr lang="en-US" altLang="ko-KR" sz="1600" dirty="0">
                <a:solidFill>
                  <a:srgbClr val="333333"/>
                </a:solidFill>
                <a:latin typeface="Noto Sans KR"/>
              </a:rPr>
              <a:t>.</a:t>
            </a:r>
            <a:endParaRPr lang="en-US" altLang="ko-KR" sz="1600" b="0" i="0" dirty="0">
              <a:solidFill>
                <a:srgbClr val="333333"/>
              </a:solidFill>
              <a:effectLst/>
              <a:latin typeface="Noto Sans KR"/>
            </a:endParaRPr>
          </a:p>
        </p:txBody>
      </p:sp>
    </p:spTree>
    <p:extLst>
      <p:ext uri="{BB962C8B-B14F-4D97-AF65-F5344CB8AC3E}">
        <p14:creationId xmlns:p14="http://schemas.microsoft.com/office/powerpoint/2010/main" val="22745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229"/>
    </mc:Choice>
    <mc:Fallback xmlns="">
      <p:transition spd="slow" advTm="142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5F4374BF-CE1C-4722-AC20-4B613B9CE3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06214"/>
            <a:ext cx="8064897" cy="504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433"/>
    </mc:Choice>
    <mc:Fallback xmlns="">
      <p:transition spd="slow" advTm="6433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8764AAA3-04D5-494C-A3A5-5E1E152319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40768"/>
            <a:ext cx="6511924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463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49"/>
    </mc:Choice>
    <mc:Fallback xmlns="">
      <p:transition spd="slow" advTm="3949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6AA2E833-111D-45CA-ABED-3DB5CF56D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25740"/>
            <a:ext cx="5307508" cy="2707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CD64F3-F3F1-40DE-B4F6-533F9CF2A22D}"/>
              </a:ext>
            </a:extLst>
          </p:cNvPr>
          <p:cNvSpPr txBox="1"/>
          <p:nvPr/>
        </p:nvSpPr>
        <p:spPr>
          <a:xfrm>
            <a:off x="467544" y="3974718"/>
            <a:ext cx="806489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→ 첫번째 층은 여러 종류의 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edge detection</a:t>
            </a:r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을 모아 놓은 것으로 보이고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, </a:t>
            </a:r>
          </a:p>
          <a:p>
            <a:pPr algn="l"/>
            <a:r>
              <a:rPr lang="ko-KR" altLang="en-US" sz="16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초기 사진에 있는 거의 모든 정보가 유지된다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  <a:endParaRPr lang="en-US" altLang="ko-KR" sz="10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en-US" altLang="ko-KR" sz="1000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/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→ 상위층으로 갈 수록 더 추상적으로 되고 시각적으로 이해하기 어려워 진다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  <a:endParaRPr lang="ko-KR" altLang="en-US" sz="10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sz="1000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/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ans KR"/>
              </a:rPr>
              <a:t>고양이 귀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ans KR"/>
              </a:rPr>
              <a:t>, </a:t>
            </a:r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ans KR"/>
              </a:rPr>
              <a:t>고양이 눈 처럼 고수준 개념을 인코딩 하게 된다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  <a:p>
            <a:pPr algn="l"/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상위층의 표현은 이미지의 시각적 콘텐츠에 대한 정보가 줄어들고 이미지 클래스에 관한 정보가 점점 증가한다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  <a:endParaRPr lang="ko-KR" altLang="en-US" sz="10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sz="1000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/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lang="ko-KR" altLang="en-US" sz="1600" b="1" i="0" dirty="0" err="1">
                <a:solidFill>
                  <a:srgbClr val="333333"/>
                </a:solidFill>
                <a:effectLst/>
                <a:latin typeface="Noto Sans KR"/>
              </a:rPr>
              <a:t>비어있는</a:t>
            </a:r>
            <a:r>
              <a:rPr lang="ko-KR" altLang="en-US" sz="1600" b="1" i="0" dirty="0">
                <a:solidFill>
                  <a:srgbClr val="333333"/>
                </a:solidFill>
                <a:effectLst/>
                <a:latin typeface="Noto Sans KR"/>
              </a:rPr>
              <a:t> 활성화가 층이 깊어짐에 따라 늘어난다</a:t>
            </a:r>
            <a:r>
              <a:rPr lang="en-US" altLang="ko-KR" sz="1600" b="1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  <a:endParaRPr lang="ko-KR" altLang="en-US" sz="16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sz="1600" b="0" i="0" dirty="0">
                <a:solidFill>
                  <a:srgbClr val="333333"/>
                </a:solidFill>
                <a:effectLst/>
                <a:latin typeface="Noto Sans KR"/>
              </a:rPr>
              <a:t>첫번째 층에서는 모든 필터가 입력 이미지에 활성화되었지만 층이 올라가면서 활성화되지 않는 필터들이 생긴다</a:t>
            </a:r>
            <a:r>
              <a:rPr lang="en-US" altLang="ko-KR" sz="1600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538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26"/>
    </mc:Choice>
    <mc:Fallback xmlns="">
      <p:transition spd="slow" advTm="40026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431540" y="1700808"/>
            <a:ext cx="828092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각 필터가 반응하는 시각적 패턴을 그리는 방법</a:t>
            </a:r>
            <a:endParaRPr lang="en-US" altLang="ko-KR" b="0" i="0" dirty="0">
              <a:solidFill>
                <a:srgbClr val="333333"/>
              </a:solidFill>
              <a:effectLst/>
              <a:latin typeface="Noto Sans"/>
            </a:endParaRPr>
          </a:p>
          <a:p>
            <a:pPr algn="l"/>
            <a:endParaRPr lang="en-US" altLang="ko-KR" sz="1000" b="0" i="0" dirty="0">
              <a:solidFill>
                <a:srgbClr val="333333"/>
              </a:solidFill>
              <a:effectLst/>
              <a:latin typeface="Noto Sans"/>
            </a:endParaRP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빈 입력 이미지에서 시작해서 </a:t>
            </a:r>
            <a:r>
              <a:rPr lang="ko-KR" altLang="en-US" b="0" i="0" dirty="0">
                <a:solidFill>
                  <a:srgbClr val="C00000"/>
                </a:solidFill>
                <a:effectLst/>
                <a:latin typeface="Noto Sans"/>
              </a:rPr>
              <a:t>특정 필터의 응답을 최대화하기 위해 </a:t>
            </a:r>
            <a:r>
              <a:rPr lang="ko-KR" altLang="en-US" b="0" i="0" dirty="0" err="1">
                <a:solidFill>
                  <a:srgbClr val="C00000"/>
                </a:solidFill>
                <a:effectLst/>
                <a:latin typeface="Noto Sans"/>
              </a:rPr>
              <a:t>컨브넷</a:t>
            </a:r>
            <a:r>
              <a:rPr lang="ko-KR" altLang="en-US" b="0" i="0" dirty="0">
                <a:solidFill>
                  <a:srgbClr val="C00000"/>
                </a:solidFill>
                <a:effectLst/>
                <a:latin typeface="Noto Sans"/>
              </a:rPr>
              <a:t> 입력 이미지에 경사 상승법을 적용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"/>
              </a:rPr>
              <a:t>, 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☞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결과적으로 입력 이미지는 선택된 필터가 최대로 응답하는 이미지가 될 것이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"/>
              </a:rPr>
              <a:t>.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388AFA-FAA3-4E1A-8F26-400F45A41F53}"/>
              </a:ext>
            </a:extLst>
          </p:cNvPr>
          <p:cNvSpPr txBox="1"/>
          <p:nvPr/>
        </p:nvSpPr>
        <p:spPr>
          <a:xfrm>
            <a:off x="431540" y="3156645"/>
            <a:ext cx="83889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특정 </a:t>
            </a:r>
            <a:r>
              <a:rPr lang="en-US" altLang="ko-KR" b="0" i="0" dirty="0" err="1">
                <a:solidFill>
                  <a:srgbClr val="333333"/>
                </a:solidFill>
                <a:effectLst/>
                <a:latin typeface="Noto Sans"/>
              </a:rPr>
              <a:t>ConvNet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"/>
              </a:rPr>
              <a:t>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층의 한 필터 값을 최대화하는 손실 함수 정의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"/>
              </a:rPr>
              <a:t>,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활성화 값을 최대화하기 위해 입력 이미지를 변경하도록 </a:t>
            </a:r>
            <a:r>
              <a:rPr lang="ko-KR" altLang="en-US" b="0" i="0" u="sng" dirty="0">
                <a:solidFill>
                  <a:srgbClr val="333333"/>
                </a:solidFill>
                <a:effectLst/>
                <a:latin typeface="Noto Sans"/>
              </a:rPr>
              <a:t>확률적 경사 </a:t>
            </a:r>
            <a:r>
              <a:rPr lang="ko-KR" altLang="en-US" b="0" i="0" u="sng" dirty="0" err="1">
                <a:solidFill>
                  <a:srgbClr val="333333"/>
                </a:solidFill>
                <a:effectLst/>
                <a:latin typeface="Noto Sans"/>
              </a:rPr>
              <a:t>상승법</a:t>
            </a:r>
            <a:r>
              <a:rPr lang="ko-KR" altLang="en-US" b="0" i="0" u="sng" dirty="0">
                <a:solidFill>
                  <a:srgbClr val="333333"/>
                </a:solidFill>
                <a:effectLst/>
                <a:latin typeface="Noto Sans"/>
              </a:rPr>
              <a:t>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"/>
              </a:rPr>
              <a:t>사용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"/>
              </a:rPr>
              <a:t>.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D89876A-2D85-4A1A-8629-C063FA4930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560" y="4111414"/>
            <a:ext cx="5184576" cy="209155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400555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23528" y="1556792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경사 상승법을 구현하기 위해 모델의 입력에 대한 손실의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그래디언트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필요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☞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케라스의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backend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모듈에 있는 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gradients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함수를 사용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en-US" altLang="ko-KR" sz="180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latin typeface="+mj-lt"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E2DD79-70C8-4A27-A734-291F365F28BC}"/>
              </a:ext>
            </a:extLst>
          </p:cNvPr>
          <p:cNvSpPr txBox="1"/>
          <p:nvPr/>
        </p:nvSpPr>
        <p:spPr>
          <a:xfrm>
            <a:off x="387113" y="3429000"/>
            <a:ext cx="82809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경사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상승법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과정을 부드럽게 하기 위해 사용하는 한 가지 기법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-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그래디언트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텐서를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L2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노름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텐서에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있는 값을 제곱합의 제곱근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으로 나누어 정규화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☞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입력 이미지에 적용할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수정량의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크기를 항상 일정 범위 안에 놓을 수 있다</a:t>
            </a:r>
            <a:endParaRPr lang="ko-KR" altLang="en-US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05523BB6-2D61-48EF-A894-02FBBC5209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658" y="4752881"/>
            <a:ext cx="5702387" cy="604356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9C848DEC-2C34-4CD4-B7A8-B92E580710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2326675"/>
            <a:ext cx="8458200" cy="742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901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35401" y="1400118"/>
            <a:ext cx="828092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입력 이미지에 대해 손실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텐서와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그래디언트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텐서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계산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endParaRPr lang="en-US" altLang="ko-KR" sz="10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285750" indent="-285750" algn="l">
              <a:buFontTx/>
              <a:buChar char="-"/>
            </a:pP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케라스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</a:t>
            </a:r>
            <a:r>
              <a:rPr lang="ko-KR" altLang="en-US" dirty="0" err="1">
                <a:solidFill>
                  <a:srgbClr val="333333"/>
                </a:solidFill>
                <a:latin typeface="+mj-lt"/>
              </a:rPr>
              <a:t>백엔드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 함수를 사용하여 처리</a:t>
            </a:r>
            <a:endParaRPr lang="en-US" altLang="ko-KR" sz="1000" dirty="0">
              <a:solidFill>
                <a:srgbClr val="333333"/>
              </a:solidFill>
              <a:latin typeface="+mj-lt"/>
            </a:endParaRPr>
          </a:p>
          <a:p>
            <a:pPr marL="285750" indent="-285750" algn="l">
              <a:buFontTx/>
              <a:buChar char="-"/>
            </a:pP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iterate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는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넘파이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(크기가 1인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의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리스트)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를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en-US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입력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algn="l"/>
            <a:r>
              <a:rPr kumimoji="0" lang="en-US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     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손실과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그래디언트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두 개의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넘파이텐서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반환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B21F349-D7D2-4540-B9F7-BBE0A48FA2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679" y="2754335"/>
            <a:ext cx="5268457" cy="1039232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1D76B68-8851-4245-BE56-296CE737C4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560" y="4414894"/>
            <a:ext cx="5591175" cy="20859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1FDFBEF-515C-452D-BF14-E2CA889846DB}"/>
              </a:ext>
            </a:extLst>
          </p:cNvPr>
          <p:cNvSpPr txBox="1"/>
          <p:nvPr/>
        </p:nvSpPr>
        <p:spPr>
          <a:xfrm>
            <a:off x="576313" y="4097830"/>
            <a:ext cx="55911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파이썬 루프를 만들어 확률적 경사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상승법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구성</a:t>
            </a:r>
            <a:endParaRPr lang="ko-KR" altLang="en-US" dirty="0"/>
          </a:p>
        </p:txBody>
      </p:sp>
      <p:sp>
        <p:nvSpPr>
          <p:cNvPr id="4" name="화살표: 오른쪽 3">
            <a:extLst>
              <a:ext uri="{FF2B5EF4-FFF2-40B4-BE49-F238E27FC236}">
                <a16:creationId xmlns:a16="http://schemas.microsoft.com/office/drawing/2014/main" id="{9AA75B34-1EA0-41A5-89CD-41CF7AF567EE}"/>
              </a:ext>
            </a:extLst>
          </p:cNvPr>
          <p:cNvSpPr/>
          <p:nvPr/>
        </p:nvSpPr>
        <p:spPr>
          <a:xfrm>
            <a:off x="755576" y="2538775"/>
            <a:ext cx="144016" cy="45719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24152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C89A6C06-694A-4E87-9617-B10D2B079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44" y="4547260"/>
            <a:ext cx="8496944" cy="103105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결과 이미지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는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(1, 150, 150, 3)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크기의 부동 소수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</a:t>
            </a:r>
            <a:r>
              <a:rPr kumimoji="0" lang="ko-KR" altLang="en-US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이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다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. 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이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의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값은 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[0, 255]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사이의 정수가 아</a:t>
            </a:r>
            <a:r>
              <a:rPr kumimoji="0" lang="ko-KR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니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다. 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3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따라서 출력 가능한 이미지로 변경하기 위해 후</a:t>
            </a:r>
            <a:r>
              <a:rPr kumimoji="0" lang="en-US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처리할 필요가 있다.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8377838-BEEB-4006-9A52-AFCAA58B4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544" y="1484784"/>
            <a:ext cx="5572125" cy="276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1799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23528" y="1268760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코드를 모아서 층의 이름과 필터 번호를 입력으로 받는 함수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/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이 함수는 필터 활성화를 최대화하는 패턴을 이미지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텐서로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출력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5D91B79-14C9-4106-AEE3-6F23CEEF02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1942517"/>
            <a:ext cx="6409532" cy="45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6973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323528" y="5909596"/>
            <a:ext cx="8280920" cy="471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block3_conv1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층의 필터 0은 물방울 패턴에 </a:t>
            </a:r>
            <a:r>
              <a:rPr kumimoji="0" lang="ko-KR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반응</a:t>
            </a:r>
            <a:endParaRPr kumimoji="0" lang="ko-KR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7AA85E36-0658-46C0-9F69-07DD974C28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528" y="1556792"/>
            <a:ext cx="7724775" cy="60007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7BEF74B4-FA63-4D70-B5F9-82314D3F9F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544" y="2233396"/>
            <a:ext cx="3440585" cy="3451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10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190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323528" y="1700808"/>
            <a:ext cx="8280920" cy="10390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000" b="1" i="0" dirty="0">
                <a:solidFill>
                  <a:srgbClr val="0D1A26"/>
                </a:solidFill>
                <a:effectLst/>
                <a:latin typeface="Noto Sans KR"/>
              </a:rPr>
              <a:t>딥러닝 모델은 블랙박스다</a:t>
            </a:r>
            <a:r>
              <a:rPr lang="en-US" altLang="ko-KR" sz="2000" b="1" i="0" dirty="0">
                <a:solidFill>
                  <a:srgbClr val="0D1A26"/>
                </a:solidFill>
                <a:effectLst/>
                <a:latin typeface="Noto Sans KR"/>
              </a:rPr>
              <a:t>?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>
              <a:lnSpc>
                <a:spcPct val="150000"/>
              </a:lnSpc>
            </a:pP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학습에서 표현된 특징들이 사람이 이해하기 쉬운 형태가 아니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21553" y="2872681"/>
            <a:ext cx="8280920" cy="731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일부 딥러닝 모델에서는 어느정도 </a:t>
            </a:r>
            <a:r>
              <a:rPr lang="ko-KR" altLang="en-US" dirty="0">
                <a:solidFill>
                  <a:srgbClr val="333333"/>
                </a:solidFill>
                <a:latin typeface="+mj-lt"/>
              </a:rPr>
              <a:t>맞으나</a:t>
            </a:r>
            <a:r>
              <a:rPr lang="en-US" altLang="ko-KR" dirty="0">
                <a:solidFill>
                  <a:srgbClr val="333333"/>
                </a:solidFill>
                <a:latin typeface="+mj-lt"/>
              </a:rPr>
              <a:t>,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>
              <a:lnSpc>
                <a:spcPct val="150000"/>
              </a:lnSpc>
            </a:pP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컨브넷에서는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전혀 아니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644125-E520-4DE0-B99E-D7D6996C8ADA}"/>
              </a:ext>
            </a:extLst>
          </p:cNvPr>
          <p:cNvSpPr txBox="1"/>
          <p:nvPr/>
        </p:nvSpPr>
        <p:spPr>
          <a:xfrm>
            <a:off x="321553" y="3736777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컨브넷의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표현은 시각적인 개념을 학습한 것이므로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,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시각화하기 좋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771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943"/>
    </mc:Choice>
    <mc:Fallback xmlns="">
      <p:transition spd="slow" advTm="20943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409575" y="1544598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모든 층에 있는 필터 시각화 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E294B12-B7E2-4C8C-A801-369412E11A8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0165"/>
          <a:stretch/>
        </p:blipFill>
        <p:spPr>
          <a:xfrm>
            <a:off x="294219" y="1945089"/>
            <a:ext cx="8324850" cy="35055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35325F-0819-4013-9EA6-0FD82D91561E}"/>
              </a:ext>
            </a:extLst>
          </p:cNvPr>
          <p:cNvSpPr txBox="1"/>
          <p:nvPr/>
        </p:nvSpPr>
        <p:spPr>
          <a:xfrm>
            <a:off x="3008263" y="2318353"/>
            <a:ext cx="6156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각 층에서 처음 64개의 필터만 </a:t>
            </a:r>
            <a:r>
              <a:rPr lang="ko-KR" altLang="en-US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사용하여 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합성곱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 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블럭의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 첫 번째 </a:t>
            </a:r>
            <a:r>
              <a:rPr lang="ko-KR" altLang="en-US" sz="1400" dirty="0">
                <a:solidFill>
                  <a:srgbClr val="000000"/>
                </a:solidFill>
                <a:highlight>
                  <a:srgbClr val="C0C0C0"/>
                </a:highlight>
                <a:latin typeface="+mj-lt"/>
                <a:ea typeface="Helvetica Neue"/>
              </a:rPr>
              <a:t>층</a:t>
            </a:r>
            <a:endParaRPr kumimoji="0" lang="en-US" altLang="ko-KR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0C0C0"/>
              </a:highlight>
              <a:latin typeface="+mj-lt"/>
              <a:ea typeface="Helvetica Neue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(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1_conv1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2_conv1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3_conv1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4_conv1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, 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cs typeface="Courier New" panose="02070309020205020404" pitchFamily="49" charset="0"/>
              </a:rPr>
              <a:t>block5_conv1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C0C0C0"/>
                </a:highlight>
                <a:latin typeface="+mj-lt"/>
                <a:ea typeface="Helvetica Neue"/>
              </a:rPr>
              <a:t>) </a:t>
            </a:r>
            <a:endParaRPr kumimoji="0" lang="en-US" altLang="ko-KR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highlight>
                <a:srgbClr val="C0C0C0"/>
              </a:highlight>
              <a:latin typeface="+mj-lt"/>
              <a:ea typeface="Helvetica Neu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F4CDEC-0C2C-4A97-B4EB-73BEC0CB8A1D}"/>
              </a:ext>
            </a:extLst>
          </p:cNvPr>
          <p:cNvSpPr txBox="1"/>
          <p:nvPr/>
        </p:nvSpPr>
        <p:spPr>
          <a:xfrm>
            <a:off x="285904" y="5481808"/>
            <a:ext cx="8324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64 × 64 필터 패턴의 8 × 8 그리드로 </a:t>
            </a:r>
            <a:r>
              <a:rPr kumimoji="0" lang="ko-KR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정렬</a:t>
            </a:r>
            <a:r>
              <a:rPr lang="en-US" altLang="ko-KR" sz="1600" dirty="0">
                <a:solidFill>
                  <a:srgbClr val="000000"/>
                </a:solidFill>
                <a:latin typeface="+mj-lt"/>
                <a:ea typeface="Helvetica Neue"/>
              </a:rPr>
              <a:t>. 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각 필터 패턴 사이에 검은 색 마진을 약간 </a:t>
            </a:r>
            <a:r>
              <a:rPr kumimoji="0" lang="ko-KR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둔다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.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5487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9611E11-7E41-47D5-8A61-C1A0F1F3AA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1200401"/>
            <a:ext cx="8410575" cy="904875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C4A8B76-0DF7-4112-B506-99E347973D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552" y="2208911"/>
            <a:ext cx="2251852" cy="4422556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5CBE49D5-7963-498F-ABA6-02CD9BB381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22038" y="2188747"/>
            <a:ext cx="2251852" cy="44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88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필터 시각화하기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2E2E71D-DA25-47A4-890F-45AE34602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528" y="1484784"/>
            <a:ext cx="8424936" cy="267765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모델에 있는 첫 번째 층(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  <a:cs typeface="Courier New" panose="02070309020205020404" pitchFamily="49" charset="0"/>
              </a:rPr>
              <a:t>block1_conv1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)의 필터는 간단한 대각선 방향의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에지와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색깔(또는 어떤 경우에 색깔이 있는 에지)을 인코딩</a:t>
            </a:r>
            <a:r>
              <a:rPr kumimoji="0" lang="ko-KR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한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다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ko-KR" altLang="ko-KR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  <a:cs typeface="Courier New" panose="02070309020205020404" pitchFamily="49" charset="0"/>
              </a:rPr>
              <a:t>block2_conv1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의 필터는 에지나 색깔의 조합으로 만들어진 간단한 질감을</a:t>
            </a:r>
            <a:r>
              <a:rPr kumimoji="0" lang="en-US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인코딩</a:t>
            </a:r>
            <a:r>
              <a:rPr kumimoji="0" lang="ko-KR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한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다.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ko-KR" altLang="ko-KR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더 상위 층의 필터는 깃털, 눈, 나뭇잎 등과 같은 자연적인 이미지에서</a:t>
            </a:r>
            <a:r>
              <a:rPr lang="en-US" altLang="ko-KR" dirty="0">
                <a:solidFill>
                  <a:srgbClr val="000000"/>
                </a:solidFill>
                <a:latin typeface="+mj-lt"/>
                <a:ea typeface="Helvetica Neue"/>
              </a:rPr>
              <a:t> 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찾을 수 있는 질감을 닮아</a:t>
            </a:r>
            <a:r>
              <a:rPr kumimoji="0" lang="en-US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가기 시작</a:t>
            </a:r>
            <a:r>
              <a:rPr kumimoji="0" lang="ko-KR" altLang="en-US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한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다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7550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23528" y="1556792"/>
            <a:ext cx="8496944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1" i="0" dirty="0" err="1">
                <a:solidFill>
                  <a:srgbClr val="0D1A26"/>
                </a:solidFill>
                <a:effectLst/>
                <a:latin typeface="+mj-lt"/>
              </a:rPr>
              <a:t>히트맵</a:t>
            </a:r>
            <a:r>
              <a:rPr lang="ko-KR" altLang="en-US" b="1" i="0" dirty="0">
                <a:solidFill>
                  <a:srgbClr val="0D1A26"/>
                </a:solidFill>
                <a:effectLst/>
                <a:latin typeface="+mj-lt"/>
              </a:rPr>
              <a:t> 시각화</a:t>
            </a:r>
            <a:endParaRPr lang="ko-KR" altLang="en-US" b="0" i="0" dirty="0">
              <a:solidFill>
                <a:srgbClr val="0D1A26"/>
              </a:solidFill>
              <a:effectLst/>
              <a:latin typeface="+mj-lt"/>
            </a:endParaRP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: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이미지의 어느 부분이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컨브넷의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최종 분류 결정에 기여하는지 이해하는데 유용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 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분류에 실수가 있는 경우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, </a:t>
            </a:r>
          </a:p>
          <a:p>
            <a:pPr algn="l"/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컨브넷의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결정과정을 디버깅하는데 도움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,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이미지에 특정 물체가 있는 위치를 파악하는데 사용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 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이러한 종류의 기법을 클래스 활성화 맵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(Class Activation Map, CAM)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시각화라고 한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.</a:t>
            </a:r>
          </a:p>
          <a:p>
            <a:r>
              <a:rPr lang="en-US" altLang="ko-KR" sz="1500" b="1" i="0" dirty="0">
                <a:solidFill>
                  <a:srgbClr val="333333"/>
                </a:solidFill>
                <a:effectLst/>
                <a:latin typeface="+mj-lt"/>
              </a:rPr>
              <a:t>(Grad-CAM : Visual </a:t>
            </a:r>
            <a:r>
              <a:rPr lang="en-US" altLang="ko-KR" sz="1500" b="1" i="0" dirty="0" err="1">
                <a:solidFill>
                  <a:srgbClr val="333333"/>
                </a:solidFill>
                <a:effectLst/>
                <a:latin typeface="+mj-lt"/>
              </a:rPr>
              <a:t>Explannations</a:t>
            </a:r>
            <a:r>
              <a:rPr lang="en-US" altLang="ko-KR" sz="1500" b="1" i="0" dirty="0">
                <a:solidFill>
                  <a:srgbClr val="333333"/>
                </a:solidFill>
                <a:effectLst/>
                <a:latin typeface="+mj-lt"/>
              </a:rPr>
              <a:t> from Deep Networks via Gradient-based Localization</a:t>
            </a:r>
            <a:r>
              <a:rPr lang="ko-KR" altLang="en-US" sz="1500" b="1" i="0" dirty="0">
                <a:solidFill>
                  <a:srgbClr val="333333"/>
                </a:solidFill>
                <a:effectLst/>
                <a:latin typeface="+mj-lt"/>
              </a:rPr>
              <a:t>에서 사용된 기법</a:t>
            </a:r>
            <a:r>
              <a:rPr lang="en-US" altLang="ko-KR" sz="1500" b="1" i="0" dirty="0">
                <a:solidFill>
                  <a:srgbClr val="333333"/>
                </a:solidFill>
                <a:effectLst/>
                <a:latin typeface="+mj-lt"/>
              </a:rPr>
              <a:t>)</a:t>
            </a:r>
            <a:endParaRPr lang="en-US" altLang="ko-KR" sz="1500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 </a:t>
            </a:r>
          </a:p>
          <a:p>
            <a:pPr algn="l"/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endParaRPr lang="en-US" altLang="ko-KR" sz="1500" dirty="0">
              <a:solidFill>
                <a:srgbClr val="33333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42038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323528" y="1522237"/>
            <a:ext cx="8280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입력 이미지가 주어지면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합성곱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층에 있는 특성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+mj-lt"/>
              </a:rPr>
              <a:t>맵의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 출력 추출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그 다음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, 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특성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+mj-lt"/>
              </a:rPr>
              <a:t>맵의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 모든 출력 채널에 대한 클래스의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+mj-lt"/>
              </a:rPr>
              <a:t>그래디언트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 평균을 곱한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.</a:t>
            </a: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+mj-lt"/>
              </a:rPr>
              <a:t> </a:t>
            </a: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☞  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입력 이미지가 각 채널을 활성화하는 정도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에 대한 공간적인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+mj-lt"/>
              </a:rPr>
              <a:t>맵을</a:t>
            </a:r>
            <a:endParaRPr lang="ko-KR" altLang="en-US" b="0" i="0" dirty="0">
              <a:solidFill>
                <a:srgbClr val="333333"/>
              </a:solidFill>
              <a:effectLst/>
              <a:latin typeface="+mj-lt"/>
            </a:endParaRPr>
          </a:p>
          <a:p>
            <a:pPr algn="l"/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클래스에 대한 각 채널의 중요도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로 가중치를 부여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+mj-lt"/>
              </a:rPr>
              <a:t>하여</a:t>
            </a:r>
          </a:p>
          <a:p>
            <a:pPr algn="l"/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입력 이미지가 클래스를 활성화하는 정도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+mj-lt"/>
              </a:rPr>
              <a:t>'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에 대한 공간적인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+mj-lt"/>
              </a:rPr>
              <a:t>맵을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+mj-lt"/>
              </a:rPr>
              <a:t> 만드는 것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BDB46C5-71BE-4100-BD59-1EF2EB586E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516" y="4067649"/>
            <a:ext cx="8496944" cy="1178708"/>
          </a:xfrm>
          <a:prstGeom prst="rect">
            <a:avLst/>
          </a:prstGeom>
        </p:spPr>
      </p:pic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8BE8BB10-6194-460C-84A1-F763A0911606}"/>
              </a:ext>
            </a:extLst>
          </p:cNvPr>
          <p:cNvCxnSpPr>
            <a:cxnSpLocks/>
          </p:cNvCxnSpPr>
          <p:nvPr/>
        </p:nvCxnSpPr>
        <p:spPr>
          <a:xfrm>
            <a:off x="3347864" y="4293096"/>
            <a:ext cx="360040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6702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539552" y="1268760"/>
            <a:ext cx="7488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초원을 걷는 어미와 새끼 아프리카 코끼리의 이미지 적용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/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크리에이티브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커먼즈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Creative Commons)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라이선스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  <a:endParaRPr lang="en-US" altLang="ko-KR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pic>
        <p:nvPicPr>
          <p:cNvPr id="17411" name="Picture 3" descr="elephants">
            <a:extLst>
              <a:ext uri="{FF2B5EF4-FFF2-40B4-BE49-F238E27FC236}">
                <a16:creationId xmlns:a16="http://schemas.microsoft.com/office/drawing/2014/main" id="{860088A5-0BAF-4F40-9526-A1B720538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076237"/>
            <a:ext cx="6336704" cy="422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5985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85D0E4C-0302-46A7-B10C-8D3863BDD8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793" y="1552975"/>
            <a:ext cx="8497679" cy="32403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07FB5DE-3B22-498E-B342-36922782A830}"/>
              </a:ext>
            </a:extLst>
          </p:cNvPr>
          <p:cNvSpPr txBox="1"/>
          <p:nvPr/>
        </p:nvSpPr>
        <p:spPr>
          <a:xfrm>
            <a:off x="322793" y="1196715"/>
            <a:ext cx="6120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이 이미지를 VGG16 모델이 인식할 수 있도록 변환 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j-lt"/>
              <a:ea typeface="Helvetica Neue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C40A425-8E31-4887-B6CA-223BD18A3ED5}"/>
              </a:ext>
            </a:extLst>
          </p:cNvPr>
          <p:cNvSpPr/>
          <p:nvPr/>
        </p:nvSpPr>
        <p:spPr>
          <a:xfrm>
            <a:off x="5004048" y="3059668"/>
            <a:ext cx="3455777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224 × 224 크기의 이미지에서 훈련</a:t>
            </a:r>
            <a:endParaRPr lang="ko-KR" altLang="en-US" sz="1600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C9EE7230-CA58-45A0-A4A1-8F668449ABFE}"/>
              </a:ext>
            </a:extLst>
          </p:cNvPr>
          <p:cNvSpPr/>
          <p:nvPr/>
        </p:nvSpPr>
        <p:spPr>
          <a:xfrm>
            <a:off x="2483768" y="2063548"/>
            <a:ext cx="654434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Courier New" panose="02070309020205020404" pitchFamily="49" charset="0"/>
              </a:rPr>
              <a:t>keras.applications.vgg16.preprocess_input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 함수에 규칙에 따라 </a:t>
            </a:r>
            <a:r>
              <a:rPr kumimoji="0" lang="ko-KR" altLang="ko-KR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전처리</a:t>
            </a:r>
            <a:endParaRPr lang="ko-KR" altLang="en-US" sz="1600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8614224-AF1F-4CBC-A1B2-0E9FC6158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8399" y="4828999"/>
            <a:ext cx="4622073" cy="120129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이미지를 로드해서 224 × 224 크기로 변경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  </a:t>
            </a:r>
            <a:endParaRPr lang="en-US" altLang="ko-KR" b="1" i="0" dirty="0">
              <a:solidFill>
                <a:srgbClr val="333333"/>
              </a:solidFill>
              <a:effectLst/>
              <a:latin typeface="Noto Sans KR"/>
            </a:endParaRP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→</a:t>
            </a:r>
            <a:r>
              <a:rPr lang="en-US" altLang="ko-KR" dirty="0">
                <a:solidFill>
                  <a:srgbClr val="000000"/>
                </a:solidFill>
                <a:latin typeface="+mj-lt"/>
              </a:rPr>
              <a:t>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넘파이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float32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텐서로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바꾼 다음 </a:t>
            </a:r>
            <a:endParaRPr lang="en-US" altLang="ko-KR" dirty="0">
              <a:solidFill>
                <a:srgbClr val="000000"/>
              </a:solidFill>
              <a:latin typeface="+mj-lt"/>
              <a:ea typeface="Helvetica Neue"/>
            </a:endParaRP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전처리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Helvetica Neue"/>
              </a:rPr>
              <a:t> 함수 적용</a:t>
            </a:r>
            <a:endParaRPr kumimoji="0" lang="ko-KR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98702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74A6C4A-96B3-41F6-8C4D-0636FF2424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2378616"/>
            <a:ext cx="8460940" cy="10801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C64074E3-2353-41D7-97F4-85FEF6EE88A2}"/>
              </a:ext>
            </a:extLst>
          </p:cNvPr>
          <p:cNvSpPr/>
          <p:nvPr/>
        </p:nvSpPr>
        <p:spPr>
          <a:xfrm>
            <a:off x="5067200" y="1917844"/>
            <a:ext cx="3888432" cy="3996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84784-B996-448B-911C-54492557C3DF}"/>
              </a:ext>
            </a:extLst>
          </p:cNvPr>
          <p:cNvSpPr txBox="1"/>
          <p:nvPr/>
        </p:nvSpPr>
        <p:spPr>
          <a:xfrm>
            <a:off x="5052312" y="1978953"/>
            <a:ext cx="38884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이미지에서 사전 훈련된 네트워크를 실행</a:t>
            </a:r>
            <a:endParaRPr lang="en-US" altLang="ko-KR" sz="1600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0A244A5-E389-4C24-A9E1-558A2FD93415}"/>
              </a:ext>
            </a:extLst>
          </p:cNvPr>
          <p:cNvSpPr/>
          <p:nvPr/>
        </p:nvSpPr>
        <p:spPr>
          <a:xfrm>
            <a:off x="5574992" y="2500835"/>
            <a:ext cx="3365752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5580112" y="2500835"/>
            <a:ext cx="3360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예측 벡터를 이해하기 쉽게 디코딩</a:t>
            </a:r>
            <a:endParaRPr lang="en-US" altLang="ko-KR" sz="1600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B4FC38E7-239E-4187-AA59-F7CD56F70F4D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2627784" y="2148230"/>
            <a:ext cx="2424528" cy="384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D7DC64D7-E301-4B4C-ADA7-E25267FCB6D2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5292080" y="2670112"/>
            <a:ext cx="288032" cy="388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104DCE4-D267-46E6-8513-CF9FF16B308C}"/>
              </a:ext>
            </a:extLst>
          </p:cNvPr>
          <p:cNvSpPr txBox="1"/>
          <p:nvPr/>
        </p:nvSpPr>
        <p:spPr>
          <a:xfrm>
            <a:off x="341530" y="3933056"/>
            <a:ext cx="8460940" cy="1841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이 이미지에 대한 상위 세 개의 예측 클래스는 다음과 같습니다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.</a:t>
            </a:r>
          </a:p>
          <a:p>
            <a:pPr algn="just"/>
            <a:endParaRPr lang="en-US" altLang="ko-KR" sz="15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아프리카 코끼리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92.5%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확률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코끼리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tusker) (7%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확률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인도 코끼리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(0.4%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확률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46632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ECBA1E-E034-4999-A920-F6464BF6AD38}"/>
              </a:ext>
            </a:extLst>
          </p:cNvPr>
          <p:cNvSpPr txBox="1"/>
          <p:nvPr/>
        </p:nvSpPr>
        <p:spPr>
          <a:xfrm>
            <a:off x="467544" y="3429000"/>
            <a:ext cx="851091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예측 벡터에서 최대로 활성화된 항목은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ko-KR" altLang="en-US" b="1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en-US" altLang="ko-KR" b="1" i="0" dirty="0">
                <a:solidFill>
                  <a:srgbClr val="000000"/>
                </a:solidFill>
                <a:effectLst/>
                <a:latin typeface="Helvetica Neue"/>
              </a:rPr>
              <a:t>'</a:t>
            </a:r>
            <a:r>
              <a:rPr lang="ko-KR" altLang="en-US" b="1" i="0" dirty="0">
                <a:solidFill>
                  <a:srgbClr val="000000"/>
                </a:solidFill>
                <a:effectLst/>
                <a:latin typeface="Helvetica Neue"/>
              </a:rPr>
              <a:t>아프리카 코끼리</a:t>
            </a:r>
            <a:r>
              <a:rPr lang="en-US" altLang="ko-KR" b="1" i="0" dirty="0">
                <a:solidFill>
                  <a:srgbClr val="000000"/>
                </a:solidFill>
                <a:effectLst/>
                <a:latin typeface="Helvetica Neue"/>
              </a:rPr>
              <a:t>' </a:t>
            </a:r>
            <a:r>
              <a:rPr lang="ko-KR" altLang="en-US" b="1" i="0" dirty="0">
                <a:solidFill>
                  <a:srgbClr val="000000"/>
                </a:solidFill>
                <a:effectLst/>
                <a:latin typeface="Helvetica Neue"/>
              </a:rPr>
              <a:t>클래스에 대한 </a:t>
            </a:r>
            <a:r>
              <a:rPr lang="en-US" altLang="ko-KR" b="1" i="0" dirty="0">
                <a:solidFill>
                  <a:srgbClr val="000000"/>
                </a:solidFill>
                <a:effectLst/>
                <a:latin typeface="Helvetica Neue"/>
              </a:rPr>
              <a:t>386</a:t>
            </a:r>
            <a:r>
              <a:rPr lang="ko-KR" altLang="en-US" b="1" i="0" dirty="0">
                <a:solidFill>
                  <a:srgbClr val="000000"/>
                </a:solidFill>
                <a:effectLst/>
                <a:latin typeface="Helvetica Neue"/>
              </a:rPr>
              <a:t>번 인덱스</a:t>
            </a:r>
            <a:endParaRPr lang="en-US" altLang="ko-KR" b="1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ko-KR" dirty="0">
              <a:solidFill>
                <a:srgbClr val="000000"/>
              </a:solidFill>
              <a:latin typeface="Helvetica Neue"/>
            </a:endParaRPr>
          </a:p>
          <a:p>
            <a:r>
              <a:rPr lang="ko-KR" altLang="en-US" sz="1800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네트워크는 이 이미지는 아프리카 코끼리를 담고 있다고 인식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B6AEB45F-4E91-46E1-9404-E8967F1DF4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934" y="2276872"/>
            <a:ext cx="8313551" cy="86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6382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E642CC-242A-48E3-9FA1-51275BB41C31}"/>
              </a:ext>
            </a:extLst>
          </p:cNvPr>
          <p:cNvSpPr txBox="1"/>
          <p:nvPr/>
        </p:nvSpPr>
        <p:spPr>
          <a:xfrm>
            <a:off x="467544" y="1191816"/>
            <a:ext cx="856895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Grad-CAM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처리</a:t>
            </a:r>
            <a:endParaRPr lang="en-US" altLang="ko-KR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ko-KR" altLang="en-US" sz="1800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이미지에서 가장 아프리카 코끼리 같은 부위를 시각화하기 위해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C291DA26-A25A-423E-B1B6-C39384F39F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4896" y="2060848"/>
            <a:ext cx="8640960" cy="446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517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컨브넷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학습 시각화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431540" y="1700808"/>
            <a:ext cx="82809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100" i="0" dirty="0">
                <a:solidFill>
                  <a:srgbClr val="333333"/>
                </a:solidFill>
                <a:effectLst/>
                <a:latin typeface="Noto Sans KR"/>
              </a:rPr>
              <a:t>『 </a:t>
            </a:r>
            <a:r>
              <a:rPr lang="ko-KR" altLang="en-US" sz="2100" b="0" i="0" dirty="0">
                <a:solidFill>
                  <a:srgbClr val="333333"/>
                </a:solidFill>
                <a:effectLst/>
                <a:latin typeface="Noto Sans KR"/>
              </a:rPr>
              <a:t>사용이 편하고 유용한 세 가지 기법</a:t>
            </a:r>
            <a:r>
              <a:rPr lang="en-US" altLang="ko-KR" sz="2000" i="0" dirty="0">
                <a:solidFill>
                  <a:srgbClr val="333333"/>
                </a:solidFill>
                <a:effectLst/>
                <a:latin typeface="Noto Sans KR"/>
              </a:rPr>
              <a:t>』</a:t>
            </a:r>
            <a:r>
              <a:rPr lang="ko-KR" altLang="en-US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  <a:endParaRPr lang="en-US" altLang="ko-KR" i="0" dirty="0">
              <a:solidFill>
                <a:srgbClr val="333333"/>
              </a:solidFill>
              <a:effectLst/>
              <a:latin typeface="Noto Sans KR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9B7C4-5CA7-4A95-A1EC-28498B977CB2}"/>
              </a:ext>
            </a:extLst>
          </p:cNvPr>
          <p:cNvSpPr txBox="1"/>
          <p:nvPr/>
        </p:nvSpPr>
        <p:spPr>
          <a:xfrm>
            <a:off x="539552" y="2348880"/>
            <a:ext cx="799288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b="1" i="0" dirty="0">
                <a:solidFill>
                  <a:srgbClr val="333333"/>
                </a:solidFill>
                <a:effectLst/>
                <a:latin typeface="Noto Sans KR"/>
              </a:rPr>
              <a:t>1.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Noto Sans KR"/>
              </a:rPr>
              <a:t>컨브넷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 중간층의 출력을 시각화 </a:t>
            </a:r>
            <a:endParaRPr lang="ko-KR" altLang="en-US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☞  연속된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Noto Sans KR"/>
              </a:rPr>
              <a:t>컨브넷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 층이 입력을 어떻게 변형시키는지 이해하고 개별적인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Noto Sans KR"/>
              </a:rPr>
              <a:t>컨브넷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 필터의 의미를 파악하는데 도움이 된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/>
            <a:r>
              <a:rPr lang="en-US" altLang="ko-KR" b="1" i="0" dirty="0">
                <a:solidFill>
                  <a:srgbClr val="333333"/>
                </a:solidFill>
                <a:effectLst/>
                <a:latin typeface="Noto Sans KR"/>
              </a:rPr>
              <a:t>2.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Noto Sans KR"/>
              </a:rPr>
              <a:t>컨브넷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 필터를 시각화</a:t>
            </a:r>
            <a:endParaRPr lang="ko-KR" altLang="en-US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☞  </a:t>
            </a:r>
            <a:r>
              <a:rPr lang="ko-KR" altLang="en-US" b="0" i="0" dirty="0" err="1">
                <a:solidFill>
                  <a:srgbClr val="333333"/>
                </a:solidFill>
                <a:effectLst/>
                <a:latin typeface="Noto Sans KR"/>
              </a:rPr>
              <a:t>컨브넷의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 필터가 찾으려는 시각적인 패턴과 개념이 무엇인지 상세하게 이해하는데 도움이 된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  <a:p>
            <a:pPr algn="l"/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 </a:t>
            </a:r>
          </a:p>
          <a:p>
            <a:pPr algn="l"/>
            <a:r>
              <a:rPr lang="en-US" altLang="ko-KR" b="1" i="0" dirty="0">
                <a:solidFill>
                  <a:srgbClr val="333333"/>
                </a:solidFill>
                <a:effectLst/>
                <a:latin typeface="Noto Sans KR"/>
              </a:rPr>
              <a:t>3. 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클래스 활성화에 대한 </a:t>
            </a:r>
            <a:r>
              <a:rPr lang="ko-KR" altLang="en-US" b="1" i="0" dirty="0" err="1">
                <a:solidFill>
                  <a:srgbClr val="333333"/>
                </a:solidFill>
                <a:effectLst/>
                <a:latin typeface="Noto Sans KR"/>
              </a:rPr>
              <a:t>히트맵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Noto Sans KR"/>
              </a:rPr>
              <a:t>(heatmap)</a:t>
            </a:r>
            <a:r>
              <a:rPr lang="ko-KR" altLang="en-US" b="1" i="0" dirty="0">
                <a:solidFill>
                  <a:srgbClr val="333333"/>
                </a:solidFill>
                <a:effectLst/>
                <a:latin typeface="Noto Sans KR"/>
              </a:rPr>
              <a:t>을 이미지에 시각화</a:t>
            </a:r>
            <a:endParaRPr lang="ko-KR" altLang="en-US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Noto Sans KR"/>
                <a:ea typeface="맑은 고딕" panose="020B0503020000020004" pitchFamily="50" charset="-127"/>
                <a:cs typeface="+mn-cs"/>
              </a:rPr>
              <a:t>☞  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이미지의 어느 부분이 주어진 클래스에 속하는 데 기여했는지 이해하고 이미지에서 객체 위치를 추정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(localization)</a:t>
            </a:r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하는데 도움이 된다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005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416"/>
    </mc:Choice>
    <mc:Fallback xmlns="">
      <p:transition spd="slow" advTm="44416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1AC24740-6375-4A4C-B3C9-282C621D34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219" y="1561887"/>
            <a:ext cx="8325561" cy="1103233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5C10FE9-03A9-45D8-94EA-CDB6CE062C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662" y="2672080"/>
            <a:ext cx="3685289" cy="376174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EB8DC7BF-2F96-48BF-82FA-C20634122785}"/>
              </a:ext>
            </a:extLst>
          </p:cNvPr>
          <p:cNvSpPr/>
          <p:nvPr/>
        </p:nvSpPr>
        <p:spPr>
          <a:xfrm>
            <a:off x="4211960" y="1428289"/>
            <a:ext cx="4752528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B540C1-1D82-4169-8A38-CD050667BD7B}"/>
              </a:ext>
            </a:extLst>
          </p:cNvPr>
          <p:cNvSpPr txBox="1"/>
          <p:nvPr/>
        </p:nvSpPr>
        <p:spPr>
          <a:xfrm>
            <a:off x="4177144" y="1428289"/>
            <a:ext cx="47525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시각화를 위해 </a:t>
            </a:r>
            <a:r>
              <a:rPr lang="ko-KR" altLang="en-US" b="0" i="0" dirty="0" err="1">
                <a:solidFill>
                  <a:srgbClr val="000000"/>
                </a:solidFill>
                <a:effectLst/>
                <a:latin typeface="Helvetica Neue"/>
              </a:rPr>
              <a:t>히트맵을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0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과 </a:t>
            </a:r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1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Helvetica Neue"/>
              </a:rPr>
              <a:t>사이로 정규화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661665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205B0E08-0830-4D6B-857A-C998BC183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364" y="1484784"/>
            <a:ext cx="8223271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9097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49694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3</a:t>
            </a:r>
            <a:r>
              <a:rPr lang="ko-KR" altLang="en-US" sz="3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클래스 활성화의 </a:t>
            </a:r>
            <a:r>
              <a:rPr lang="ko-KR" altLang="en-US" sz="3500" dirty="0" err="1">
                <a:latin typeface="Sandoll 고딕Neo2유니 06 Bd" pitchFamily="34" charset="-127"/>
                <a:ea typeface="Sandoll 고딕Neo2유니 06 Bd" pitchFamily="34" charset="-127"/>
              </a:rPr>
              <a:t>히트맵</a:t>
            </a:r>
            <a:r>
              <a:rPr lang="ko-KR" altLang="en-US" sz="3500" dirty="0">
                <a:latin typeface="Sandoll 고딕Neo2유니 06 Bd" pitchFamily="34" charset="-127"/>
                <a:ea typeface="Sandoll 고딕Neo2유니 06 Bd" pitchFamily="34" charset="-127"/>
              </a:rPr>
              <a:t> 시각화하기</a:t>
            </a:r>
          </a:p>
        </p:txBody>
      </p:sp>
      <p:pic>
        <p:nvPicPr>
          <p:cNvPr id="18434" name="Picture 2" descr="elephant cam">
            <a:extLst>
              <a:ext uri="{FF2B5EF4-FFF2-40B4-BE49-F238E27FC236}">
                <a16:creationId xmlns:a16="http://schemas.microsoft.com/office/drawing/2014/main" id="{A3130415-9235-470B-BE4F-7D0B259E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997330"/>
            <a:ext cx="5489231" cy="3663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A168675-9FBF-483A-BA69-2B968B152B7D}"/>
              </a:ext>
            </a:extLst>
          </p:cNvPr>
          <p:cNvSpPr txBox="1"/>
          <p:nvPr/>
        </p:nvSpPr>
        <p:spPr>
          <a:xfrm>
            <a:off x="450921" y="1088814"/>
            <a:ext cx="847977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altLang="ko-KR" sz="10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just"/>
            <a:r>
              <a:rPr lang="ko-KR" altLang="en-US" b="0" i="0" dirty="0">
                <a:solidFill>
                  <a:srgbClr val="000000"/>
                </a:solidFill>
                <a:effectLst/>
                <a:latin typeface="+mj-lt"/>
              </a:rPr>
              <a:t>강하게 활성화된 코끼리 새끼의 귀</a:t>
            </a:r>
            <a:endParaRPr lang="en-US" altLang="ko-KR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just"/>
            <a:r>
              <a:rPr lang="ko-KR" altLang="en-US" sz="1800" b="1" i="0" dirty="0">
                <a:solidFill>
                  <a:srgbClr val="333333"/>
                </a:solidFill>
                <a:effectLst/>
                <a:latin typeface="Noto Sans KR"/>
              </a:rPr>
              <a:t>→ </a:t>
            </a:r>
            <a:r>
              <a:rPr lang="ko-KR" altLang="en-US" b="0" i="0" dirty="0">
                <a:solidFill>
                  <a:srgbClr val="000000"/>
                </a:solidFill>
                <a:effectLst/>
                <a:latin typeface="+mj-lt"/>
              </a:rPr>
              <a:t>네트워크가 아프리카 코끼리와 인도 코끼리의 차이를 구분하는 방법</a:t>
            </a:r>
            <a:endParaRPr lang="en-US" altLang="ko-KR" b="0" i="0" dirty="0">
              <a:solidFill>
                <a:srgbClr val="000000"/>
              </a:solidFill>
              <a:effectLst/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6B6768-6B0B-4130-BD12-E02EC6A2D09F}"/>
              </a:ext>
            </a:extLst>
          </p:cNvPr>
          <p:cNvSpPr txBox="1"/>
          <p:nvPr/>
        </p:nvSpPr>
        <p:spPr>
          <a:xfrm>
            <a:off x="539552" y="5769186"/>
            <a:ext cx="7254552" cy="783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b="0" i="0" dirty="0">
                <a:solidFill>
                  <a:srgbClr val="000000"/>
                </a:solidFill>
                <a:effectLst/>
                <a:latin typeface="+mj-lt"/>
              </a:rPr>
              <a:t> 왜 네트워크가 이 이미지에 아프리카 코끼리가 있다고 생각하는가</a:t>
            </a:r>
            <a:r>
              <a:rPr lang="en-US" altLang="ko-KR" sz="1600" b="0" i="0" dirty="0">
                <a:solidFill>
                  <a:srgbClr val="000000"/>
                </a:solidFill>
                <a:effectLst/>
                <a:latin typeface="+mj-lt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b="0" i="0" dirty="0">
                <a:solidFill>
                  <a:srgbClr val="000000"/>
                </a:solidFill>
                <a:effectLst/>
                <a:latin typeface="+mj-lt"/>
              </a:rPr>
              <a:t> 아프리카 코끼리가 사진 어디에 있는가</a:t>
            </a:r>
            <a:r>
              <a:rPr lang="en-US" altLang="ko-KR" sz="1600" b="0" i="0" dirty="0">
                <a:solidFill>
                  <a:srgbClr val="000000"/>
                </a:solidFill>
                <a:effectLst/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672712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492896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323528" y="1772816"/>
            <a:ext cx="8280920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어떤 입력이 주어졌을 때 네트워크에 있는 여러 </a:t>
            </a:r>
            <a:r>
              <a:rPr lang="ko-KR" altLang="en-US" sz="2000" b="0" i="0" dirty="0" err="1">
                <a:solidFill>
                  <a:srgbClr val="333333"/>
                </a:solidFill>
                <a:effectLst/>
                <a:latin typeface="Noto Sans KR"/>
              </a:rPr>
              <a:t>합성곱과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 </a:t>
            </a:r>
            <a:r>
              <a:rPr lang="ko-KR" altLang="en-US" sz="2000" b="0" i="0" dirty="0" err="1">
                <a:solidFill>
                  <a:srgbClr val="333333"/>
                </a:solidFill>
                <a:effectLst/>
                <a:latin typeface="Noto Sans KR"/>
              </a:rPr>
              <a:t>풀링층이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 출력하는 </a:t>
            </a:r>
            <a:r>
              <a:rPr lang="ko-KR" altLang="en-US" sz="2000" b="1" i="0" dirty="0" err="1">
                <a:solidFill>
                  <a:srgbClr val="333333"/>
                </a:solidFill>
                <a:effectLst/>
                <a:latin typeface="Noto Sans KR"/>
              </a:rPr>
              <a:t>특성맵을</a:t>
            </a:r>
            <a:r>
              <a:rPr lang="ko-KR" altLang="en-US" sz="2000" b="1" i="0" dirty="0">
                <a:solidFill>
                  <a:srgbClr val="333333"/>
                </a:solidFill>
                <a:effectLst/>
                <a:latin typeface="Noto Sans KR"/>
              </a:rPr>
              <a:t> 시각화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 하는 것</a:t>
            </a:r>
            <a:endParaRPr lang="en-US" altLang="ko-KR" sz="20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>
              <a:lnSpc>
                <a:spcPct val="150000"/>
              </a:lnSpc>
            </a:pP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( 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층의 출력이 활성화 함수의 출력이라서 종종 활성화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(activation)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라고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 </a:t>
            </a:r>
            <a:r>
              <a:rPr lang="ko-KR" altLang="en-US" sz="1700" dirty="0">
                <a:solidFill>
                  <a:srgbClr val="333333"/>
                </a:solidFill>
                <a:latin typeface="Noto Sans KR"/>
              </a:rPr>
              <a:t>부른다</a:t>
            </a:r>
            <a:r>
              <a:rPr lang="en-US" altLang="ko-KR" sz="1700" dirty="0">
                <a:solidFill>
                  <a:srgbClr val="333333"/>
                </a:solidFill>
                <a:latin typeface="Noto Sans KR"/>
              </a:rPr>
              <a:t>)</a:t>
            </a:r>
            <a:endParaRPr lang="en-US" altLang="ko-KR" sz="17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endParaRPr lang="en-US" altLang="ko-KR" sz="25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네트워크에 의해 학습된 필터들이 어떻게 입력을 분해하는지 알 수 있다</a:t>
            </a:r>
            <a:r>
              <a:rPr lang="en-US" altLang="ko-KR" sz="2000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456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34"/>
    </mc:Choice>
    <mc:Fallback xmlns="">
      <p:transition spd="slow" advTm="17834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54FE2E-4231-4402-8123-85A6BE9FA6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412776"/>
            <a:ext cx="4619625" cy="52578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323528" y="1556792"/>
            <a:ext cx="3744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i="0" dirty="0">
                <a:solidFill>
                  <a:srgbClr val="333333"/>
                </a:solidFill>
                <a:effectLst/>
                <a:highlight>
                  <a:srgbClr val="C0C0C0"/>
                </a:highlight>
                <a:latin typeface="+mj-lt"/>
              </a:rPr>
              <a:t>사용한 모델은 고양이와 강아지를</a:t>
            </a:r>
            <a:endParaRPr lang="en-US" altLang="ko-KR" i="0" dirty="0">
              <a:solidFill>
                <a:srgbClr val="333333"/>
              </a:solidFill>
              <a:effectLst/>
              <a:highlight>
                <a:srgbClr val="C0C0C0"/>
              </a:highlight>
              <a:latin typeface="+mj-lt"/>
            </a:endParaRPr>
          </a:p>
          <a:p>
            <a:pPr algn="l"/>
            <a:r>
              <a:rPr lang="ko-KR" altLang="en-US" i="0" dirty="0">
                <a:solidFill>
                  <a:srgbClr val="333333"/>
                </a:solidFill>
                <a:effectLst/>
                <a:highlight>
                  <a:srgbClr val="C0C0C0"/>
                </a:highlight>
                <a:latin typeface="+mj-lt"/>
              </a:rPr>
              <a:t> 이진 분류하는</a:t>
            </a:r>
            <a:r>
              <a:rPr lang="en-US" altLang="ko-KR" dirty="0">
                <a:solidFill>
                  <a:srgbClr val="333333"/>
                </a:solidFill>
                <a:highlight>
                  <a:srgbClr val="C0C0C0"/>
                </a:highlight>
                <a:latin typeface="+mj-lt"/>
              </a:rPr>
              <a:t> </a:t>
            </a:r>
            <a:r>
              <a:rPr lang="ko-KR" altLang="en-US" i="0" dirty="0" err="1">
                <a:solidFill>
                  <a:srgbClr val="333333"/>
                </a:solidFill>
                <a:effectLst/>
                <a:highlight>
                  <a:srgbClr val="C0C0C0"/>
                </a:highlight>
                <a:latin typeface="+mj-lt"/>
              </a:rPr>
              <a:t>컨브넷</a:t>
            </a:r>
            <a:r>
              <a:rPr lang="ko-KR" altLang="en-US" i="0" dirty="0">
                <a:solidFill>
                  <a:srgbClr val="333333"/>
                </a:solidFill>
                <a:effectLst/>
                <a:highlight>
                  <a:srgbClr val="C0C0C0"/>
                </a:highlight>
                <a:latin typeface="+mj-lt"/>
              </a:rPr>
              <a:t> 모델</a:t>
            </a:r>
            <a:endParaRPr lang="en-US" altLang="ko-KR" i="0" dirty="0">
              <a:solidFill>
                <a:srgbClr val="333333"/>
              </a:solidFill>
              <a:effectLst/>
              <a:highlight>
                <a:srgbClr val="C0C0C0"/>
              </a:highligh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0114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979"/>
    </mc:Choice>
    <mc:Fallback xmlns="">
      <p:transition spd="slow" advTm="797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D3301A4C-72C2-4E78-ADE2-2A04811450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8" y="1387572"/>
            <a:ext cx="7420827" cy="2694655"/>
          </a:xfrm>
          <a:prstGeom prst="rect">
            <a:avLst/>
          </a:prstGeom>
        </p:spPr>
      </p:pic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92AB5CE-B55F-40E1-890C-FA3EB617EDA8}"/>
              </a:ext>
            </a:extLst>
          </p:cNvPr>
          <p:cNvSpPr/>
          <p:nvPr/>
        </p:nvSpPr>
        <p:spPr>
          <a:xfrm>
            <a:off x="1619672" y="4186270"/>
            <a:ext cx="7200800" cy="25854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59BFC5-A25D-4BEE-A71F-E37220C37606}"/>
              </a:ext>
            </a:extLst>
          </p:cNvPr>
          <p:cNvSpPr txBox="1"/>
          <p:nvPr/>
        </p:nvSpPr>
        <p:spPr>
          <a:xfrm>
            <a:off x="3967448" y="5970974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고양이 사진 출력 </a:t>
            </a:r>
            <a:r>
              <a:rPr lang="en-US" altLang="ko-KR" dirty="0"/>
              <a:t>-&gt;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550A344-67BB-4C67-8354-53F4609044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5818" y="4240869"/>
            <a:ext cx="2445012" cy="2476258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A38DBAD2-736E-42AB-9F95-8E9501155C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29442" y="4861350"/>
            <a:ext cx="4326734" cy="83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95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52"/>
    </mc:Choice>
    <mc:Fallback xmlns="">
      <p:transition spd="slow" advTm="8252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323528" y="1700808"/>
            <a:ext cx="82809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확인하고 싶은 특성 </a:t>
            </a:r>
            <a:r>
              <a:rPr lang="ko-KR" altLang="en-US" sz="2000" b="0" i="0" dirty="0" err="1">
                <a:solidFill>
                  <a:srgbClr val="333333"/>
                </a:solidFill>
                <a:effectLst/>
                <a:latin typeface="Noto Sans KR"/>
              </a:rPr>
              <a:t>맵을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 추출하기 위해 이미지 배치를 입력으로 받아</a:t>
            </a:r>
          </a:p>
          <a:p>
            <a:pPr algn="l"/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모든 </a:t>
            </a:r>
            <a:r>
              <a:rPr lang="ko-KR" altLang="en-US" sz="2000" b="0" i="0" dirty="0" err="1">
                <a:solidFill>
                  <a:srgbClr val="333333"/>
                </a:solidFill>
                <a:effectLst/>
                <a:latin typeface="Noto Sans KR"/>
              </a:rPr>
              <a:t>합성곱과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 </a:t>
            </a:r>
            <a:r>
              <a:rPr lang="ko-KR" altLang="en-US" sz="2000" b="0" i="0" dirty="0" err="1">
                <a:solidFill>
                  <a:srgbClr val="333333"/>
                </a:solidFill>
                <a:effectLst/>
                <a:latin typeface="Noto Sans KR"/>
              </a:rPr>
              <a:t>풀링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 층의 활성화를 출력하는 </a:t>
            </a:r>
            <a:r>
              <a:rPr lang="en-US" altLang="ko-KR" sz="2000" b="0" i="0" dirty="0" err="1">
                <a:solidFill>
                  <a:srgbClr val="333333"/>
                </a:solidFill>
                <a:effectLst/>
                <a:latin typeface="Noto Sans KR"/>
              </a:rPr>
              <a:t>keras</a:t>
            </a:r>
            <a:r>
              <a:rPr lang="en-US" altLang="ko-KR" sz="2000" b="0" i="0" dirty="0">
                <a:solidFill>
                  <a:srgbClr val="333333"/>
                </a:solidFill>
                <a:effectLst/>
                <a:latin typeface="Noto Sans KR"/>
              </a:rPr>
              <a:t> </a:t>
            </a:r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모델을 만든다</a:t>
            </a:r>
            <a:r>
              <a:rPr lang="en-US" altLang="ko-KR" sz="2000" b="0" i="0" dirty="0">
                <a:solidFill>
                  <a:srgbClr val="333333"/>
                </a:solidFill>
                <a:effectLst/>
                <a:latin typeface="Noto Sans KR"/>
              </a:rPr>
              <a:t>.</a:t>
            </a:r>
          </a:p>
          <a:p>
            <a:pPr algn="l"/>
            <a:endParaRPr lang="en-US" altLang="ko-KR" sz="2000" b="0" i="0" dirty="0">
              <a:solidFill>
                <a:srgbClr val="333333"/>
              </a:solidFill>
              <a:effectLst/>
              <a:latin typeface="Noto Sans KR"/>
            </a:endParaRPr>
          </a:p>
          <a:p>
            <a:pPr algn="l"/>
            <a:r>
              <a:rPr lang="ko-KR" altLang="en-US" sz="2000" b="0" i="0" dirty="0">
                <a:solidFill>
                  <a:srgbClr val="333333"/>
                </a:solidFill>
                <a:effectLst/>
                <a:latin typeface="Noto Sans KR"/>
              </a:rPr>
              <a:t>입력 이미지가 들어 올 때 원본 모델의 활성화 값 반환</a:t>
            </a:r>
            <a:endParaRPr lang="en-US" altLang="ko-KR" sz="2000" b="0" i="0" dirty="0">
              <a:solidFill>
                <a:srgbClr val="333333"/>
              </a:solidFill>
              <a:effectLst/>
              <a:latin typeface="Noto Sans KR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3B3C9FE-975C-442B-B257-58291C165F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849" y="3011859"/>
            <a:ext cx="8560623" cy="132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62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821"/>
    </mc:Choice>
    <mc:Fallback xmlns="">
      <p:transition spd="slow" advTm="1682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275685" y="1431784"/>
            <a:ext cx="8352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고양이 이미지에 대한 활성화 값 출력</a:t>
            </a:r>
            <a:endParaRPr lang="en-US" altLang="ko-KR" b="0" i="0" dirty="0">
              <a:solidFill>
                <a:srgbClr val="333333"/>
              </a:solidFill>
              <a:effectLst/>
              <a:latin typeface="Noto Sans KR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31AEB1B3-B10C-4C83-8989-EA61E48F83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520" y="1801116"/>
            <a:ext cx="8528683" cy="654223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97A4E587-6211-49C3-897C-B79950A44A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520" y="2769864"/>
            <a:ext cx="8528682" cy="8303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8706CE-134B-4E17-A6D6-A802062BEE1F}"/>
              </a:ext>
            </a:extLst>
          </p:cNvPr>
          <p:cNvSpPr txBox="1"/>
          <p:nvPr/>
        </p:nvSpPr>
        <p:spPr>
          <a:xfrm>
            <a:off x="283469" y="2435769"/>
            <a:ext cx="6840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고양이 이미지에 대한 첫 번째 </a:t>
            </a:r>
            <a:r>
              <a:rPr lang="ko-KR" altLang="en-US" dirty="0" err="1"/>
              <a:t>합성곱</a:t>
            </a:r>
            <a:r>
              <a:rPr lang="ko-KR" altLang="en-US" dirty="0"/>
              <a:t> 층의 활성화 값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F0A97735-3FD1-4C45-805C-56EFF73CDC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02" r="18345"/>
          <a:stretch/>
        </p:blipFill>
        <p:spPr bwMode="auto">
          <a:xfrm>
            <a:off x="4147727" y="3949956"/>
            <a:ext cx="4293011" cy="26921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D90A2F-8FCF-44A4-8A6C-DA4D784D29CF}"/>
              </a:ext>
            </a:extLst>
          </p:cNvPr>
          <p:cNvSpPr txBox="1"/>
          <p:nvPr/>
        </p:nvSpPr>
        <p:spPr>
          <a:xfrm>
            <a:off x="4033951" y="3538781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highlight>
                  <a:srgbClr val="C0C0C0"/>
                </a:highlight>
              </a:rPr>
              <a:t>각 층의 </a:t>
            </a:r>
            <a:r>
              <a:rPr lang="en-US" altLang="ko-KR" dirty="0">
                <a:highlight>
                  <a:srgbClr val="C0C0C0"/>
                </a:highlight>
              </a:rPr>
              <a:t>shape</a:t>
            </a:r>
            <a:endParaRPr lang="ko-KR" altLang="en-US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37519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266"/>
    </mc:Choice>
    <mc:Fallback xmlns="">
      <p:transition spd="slow" advTm="37266"/>
    </mc:Fallback>
  </mc:AlternateContent>
  <p:extLst>
    <p:ext uri="{3A86A75C-4F4B-4683-9AE1-C65F6400EC91}">
      <p14:laserTraceLst xmlns:p14="http://schemas.microsoft.com/office/powerpoint/2010/main">
        <p14:tracePtLst>
          <p14:tracePt t="13129" x="0" y="0"/>
        </p14:tracePtLst>
        <p14:tracePtLst>
          <p14:tracePt t="16310" x="2266950" y="6280150"/>
          <p14:tracePt t="30514" x="3841750" y="6789738"/>
          <p14:tracePt t="30531" x="4037013" y="6746875"/>
          <p14:tracePt t="30543" x="4095750" y="6731000"/>
          <p14:tracePt t="30555" x="4156075" y="6721475"/>
          <p14:tracePt t="30570" x="4206875" y="6713538"/>
          <p14:tracePt t="30581" x="4224338" y="6713538"/>
          <p14:tracePt t="30598" x="4232275" y="6713538"/>
          <p14:tracePt t="30608" x="4240213" y="6713538"/>
          <p14:tracePt t="30626" x="4249738" y="6713538"/>
          <p14:tracePt t="30699" x="4257675" y="6713538"/>
          <p14:tracePt t="30817" x="4265613" y="6713538"/>
          <p14:tracePt t="30905" x="4275138" y="6713538"/>
          <p14:tracePt t="30927" x="4291013" y="6705600"/>
          <p14:tracePt t="30944" x="4341813" y="6696075"/>
          <p14:tracePt t="30962" x="4419600" y="6688138"/>
          <p14:tracePt t="30972" x="4435475" y="6688138"/>
          <p14:tracePt t="30988" x="4460875" y="6680200"/>
          <p14:tracePt t="30993" x="4478338" y="6680200"/>
          <p14:tracePt t="31011" x="4486275" y="6680200"/>
          <p14:tracePt t="31021" x="4495800" y="6680200"/>
          <p14:tracePt t="31057" x="4503738" y="6680200"/>
          <p14:tracePt t="31345" x="4503738" y="6670675"/>
          <p14:tracePt t="31363" x="4529138" y="6670675"/>
          <p14:tracePt t="31393" x="4605338" y="6670675"/>
          <p14:tracePt t="31415" x="4699000" y="6670675"/>
          <p14:tracePt t="31425" x="4767263" y="6670675"/>
          <p14:tracePt t="31441" x="4852988" y="6670675"/>
          <p14:tracePt t="31453" x="4886325" y="6670675"/>
          <p14:tracePt t="31462" x="4903788" y="6670675"/>
          <p14:tracePt t="31477" x="4919663" y="6670675"/>
          <p14:tracePt t="31496" x="4946650" y="6670675"/>
          <p14:tracePt t="31522" x="4962525" y="6670675"/>
          <p14:tracePt t="31543" x="4972050" y="6670675"/>
          <p14:tracePt t="31580" x="4979988" y="6670675"/>
          <p14:tracePt t="32306" x="4987925" y="6670675"/>
          <p14:tracePt t="32335" x="5013325" y="6670675"/>
          <p14:tracePt t="32355" x="5030788" y="6670675"/>
          <p14:tracePt t="32362" x="5038725" y="6670675"/>
          <p14:tracePt t="32373" x="5048250" y="6670675"/>
          <p14:tracePt t="32396" x="5056188" y="6670675"/>
          <p14:tracePt t="32412" x="5064125" y="6670675"/>
          <p14:tracePt t="32423" x="5073650" y="6670675"/>
          <p14:tracePt t="32447" x="5091113" y="6670675"/>
          <p14:tracePt t="32471" x="5099050" y="6670675"/>
          <p14:tracePt t="32505" x="5106988" y="6670675"/>
          <p14:tracePt t="32532" x="5116513" y="6670675"/>
          <p14:tracePt t="32570" x="5124450" y="6670675"/>
          <p14:tracePt t="32591" x="5132388" y="6670675"/>
          <p14:tracePt t="32619" x="5141913" y="6670675"/>
          <p14:tracePt t="32657" x="5149850" y="6670675"/>
          <p14:tracePt t="32688" x="5157788" y="6662738"/>
          <p14:tracePt t="32783" x="5167313" y="6662738"/>
          <p14:tracePt t="33087" x="5175250" y="6662738"/>
          <p14:tracePt t="33133" x="5183188" y="6662738"/>
          <p14:tracePt t="33162" x="5192713" y="6662738"/>
          <p14:tracePt t="33194" x="5200650" y="6662738"/>
          <p14:tracePt t="33271" x="5208588" y="6662738"/>
          <p14:tracePt t="33288" x="5218113" y="6662738"/>
          <p14:tracePt t="33351" x="5226050" y="6662738"/>
          <p14:tracePt t="33373" x="5235575" y="6662738"/>
          <p14:tracePt t="33402" x="5243513" y="6662738"/>
          <p14:tracePt t="33466" x="5251450" y="6662738"/>
          <p14:tracePt t="34132" x="5243513" y="6662738"/>
          <p14:tracePt t="34152" x="5226050" y="6662738"/>
          <p14:tracePt t="34169" x="5208588" y="6662738"/>
          <p14:tracePt t="34181" x="5183188" y="6662738"/>
          <p14:tracePt t="34193" x="5167313" y="6662738"/>
          <p14:tracePt t="34199" x="5157788" y="6662738"/>
          <p14:tracePt t="34209" x="5149850" y="6662738"/>
          <p14:tracePt t="34221" x="5141913" y="6662738"/>
          <p14:tracePt t="34240" x="5132388" y="6662738"/>
          <p14:tracePt t="34270" x="5116513" y="6662738"/>
          <p14:tracePt t="34291" x="5106988" y="6662738"/>
          <p14:tracePt t="34308" x="5099050" y="6662738"/>
          <p14:tracePt t="34334" x="5091113" y="6662738"/>
          <p14:tracePt t="34351" x="5081588" y="6662738"/>
          <p14:tracePt t="34364" x="5073650" y="6662738"/>
          <p14:tracePt t="34376" x="5064125" y="6662738"/>
          <p14:tracePt t="34390" x="5056188" y="6662738"/>
          <p14:tracePt t="34403" x="5048250" y="6662738"/>
          <p14:tracePt t="34418" x="5038725" y="6662738"/>
          <p14:tracePt t="34425" x="5030788" y="6662738"/>
          <p14:tracePt t="34445" x="5022850" y="6662738"/>
          <p14:tracePt t="34455" x="5013325" y="6662738"/>
          <p14:tracePt t="34506" x="5005388" y="6662738"/>
          <p14:tracePt t="34521" x="4997450" y="6670675"/>
          <p14:tracePt t="34552" x="4979988" y="6670675"/>
          <p14:tracePt t="34569" x="4972050" y="6670675"/>
          <p14:tracePt t="34610" x="4962525" y="6670675"/>
          <p14:tracePt t="34620" x="4954588" y="6670675"/>
          <p14:tracePt t="34688" x="4946650" y="6670675"/>
          <p14:tracePt t="34757" x="4937125" y="6670675"/>
          <p14:tracePt t="34867" x="4946650" y="6670675"/>
          <p14:tracePt t="34883" x="4954588" y="6670675"/>
          <p14:tracePt t="34895" x="4972050" y="6670675"/>
          <p14:tracePt t="34906" x="4979988" y="6670675"/>
          <p14:tracePt t="34922" x="5013325" y="6670675"/>
          <p14:tracePt t="34943" x="5081588" y="6670675"/>
          <p14:tracePt t="34961" x="5106988" y="6670675"/>
          <p14:tracePt t="34973" x="5167313" y="6670675"/>
          <p14:tracePt t="34991" x="5243513" y="6670675"/>
          <p14:tracePt t="35002" x="5276850" y="6670675"/>
          <p14:tracePt t="35019" x="5319713" y="6670675"/>
          <p14:tracePt t="35040" x="5337175" y="6670675"/>
          <p14:tracePt t="35050" x="5345113" y="6670675"/>
          <p14:tracePt t="35061" x="5353050" y="6670675"/>
          <p14:tracePt t="35073" x="5362575" y="6670675"/>
          <p14:tracePt t="35160" x="5370513" y="6670675"/>
          <p14:tracePt t="35577" x="5311775" y="6696075"/>
          <p14:tracePt t="35586" x="5192713" y="6756400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5.4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중간층의 활성화 시각화하기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759714" y="5161647"/>
            <a:ext cx="82809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sz="1500" b="0" i="0" dirty="0">
                <a:solidFill>
                  <a:srgbClr val="333333"/>
                </a:solidFill>
                <a:effectLst/>
                <a:latin typeface="Noto Sans KR"/>
              </a:rPr>
              <a:t>☞  첫번째 층의 활성화 중에 </a:t>
            </a:r>
            <a:r>
              <a:rPr lang="en-US" altLang="ko-KR" sz="1500" b="0" i="0" dirty="0">
                <a:solidFill>
                  <a:srgbClr val="333333"/>
                </a:solidFill>
                <a:effectLst/>
                <a:latin typeface="Noto Sans KR"/>
              </a:rPr>
              <a:t>20</a:t>
            </a:r>
            <a:r>
              <a:rPr lang="ko-KR" altLang="en-US" sz="1500" b="0" i="0" dirty="0">
                <a:solidFill>
                  <a:srgbClr val="333333"/>
                </a:solidFill>
                <a:effectLst/>
                <a:latin typeface="Noto Sans KR"/>
              </a:rPr>
              <a:t>번째 커널과 </a:t>
            </a:r>
            <a:r>
              <a:rPr lang="en-US" altLang="ko-KR" sz="1500" b="0" i="0" dirty="0">
                <a:solidFill>
                  <a:srgbClr val="333333"/>
                </a:solidFill>
                <a:effectLst/>
                <a:latin typeface="Noto Sans KR"/>
              </a:rPr>
              <a:t>17</a:t>
            </a:r>
            <a:r>
              <a:rPr lang="ko-KR" altLang="en-US" sz="1500" b="0" i="0" dirty="0">
                <a:solidFill>
                  <a:srgbClr val="333333"/>
                </a:solidFill>
                <a:effectLst/>
                <a:latin typeface="Noto Sans KR"/>
              </a:rPr>
              <a:t>번째 커널</a:t>
            </a:r>
            <a:r>
              <a:rPr lang="en-US" altLang="ko-KR" sz="1500" b="0" i="0" dirty="0">
                <a:solidFill>
                  <a:srgbClr val="333333"/>
                </a:solidFill>
                <a:effectLst/>
                <a:latin typeface="Noto Sans KR"/>
              </a:rPr>
              <a:t>(</a:t>
            </a:r>
            <a:r>
              <a:rPr lang="ko-KR" altLang="en-US" sz="1500" b="0" i="0" dirty="0">
                <a:solidFill>
                  <a:srgbClr val="333333"/>
                </a:solidFill>
                <a:effectLst/>
                <a:latin typeface="Noto Sans KR"/>
              </a:rPr>
              <a:t>채널</a:t>
            </a:r>
            <a:r>
              <a:rPr lang="en-US" altLang="ko-KR" sz="1500" b="0" i="0" dirty="0">
                <a:solidFill>
                  <a:srgbClr val="333333"/>
                </a:solidFill>
                <a:effectLst/>
                <a:latin typeface="Noto Sans KR"/>
              </a:rPr>
              <a:t>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0AA403E-7529-4390-9F56-5F8DBD8B26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004" y="1491685"/>
            <a:ext cx="3355957" cy="336737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67770C5-3F7B-483C-8B3E-B799EAB1C1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00174" y="1491685"/>
            <a:ext cx="3427965" cy="338132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DFBD5F-9374-4433-9917-58422C048088}"/>
              </a:ext>
            </a:extLst>
          </p:cNvPr>
          <p:cNvSpPr txBox="1"/>
          <p:nvPr/>
        </p:nvSpPr>
        <p:spPr>
          <a:xfrm>
            <a:off x="725177" y="5773448"/>
            <a:ext cx="695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0" i="0" dirty="0">
                <a:solidFill>
                  <a:srgbClr val="333333"/>
                </a:solidFill>
                <a:effectLst/>
                <a:latin typeface="Noto Sans KR"/>
              </a:rPr>
              <a:t>밝은 녹색 점이 해당 채널이 감지하고 있는 부분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93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264"/>
    </mc:Choice>
    <mc:Fallback xmlns="">
      <p:transition spd="slow" advTm="13264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s1YwcR8UG08sQwT55R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6</TotalTime>
  <Words>1135</Words>
  <Application>Microsoft Office PowerPoint</Application>
  <PresentationFormat>화면 슬라이드 쇼(4:3)</PresentationFormat>
  <Paragraphs>158</Paragraphs>
  <Slides>33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3</vt:i4>
      </vt:variant>
    </vt:vector>
  </HeadingPairs>
  <TitlesOfParts>
    <vt:vector size="42" baseType="lpstr">
      <vt:lpstr>Helvetica Neue</vt:lpstr>
      <vt:lpstr>Noto Sans</vt:lpstr>
      <vt:lpstr>Noto Sans KR</vt:lpstr>
      <vt:lpstr>Sandoll 고딕Neo1유니코드 03 Lt</vt:lpstr>
      <vt:lpstr>Sandoll 고딕Neo2유니 06 Bd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수지</cp:lastModifiedBy>
  <cp:revision>54</cp:revision>
  <dcterms:created xsi:type="dcterms:W3CDTF">2020-01-14T01:52:45Z</dcterms:created>
  <dcterms:modified xsi:type="dcterms:W3CDTF">2021-01-13T04:54:27Z</dcterms:modified>
</cp:coreProperties>
</file>